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A20013"/>
    <a:srgbClr val="5A5A5A"/>
    <a:srgbClr val="8D8D8D"/>
    <a:srgbClr val="C60018"/>
    <a:srgbClr val="444444"/>
    <a:srgbClr val="E5E5E5"/>
    <a:srgbClr val="A8A8A8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272DBF41-701C-4A52-986C-030F013E7DC1}"/>
    <pc:docChg chg="modSld">
      <pc:chgData name="Weigel Stefan (PAR-EPS)" userId="fd3b2067-2981-4ad8-bf3a-d2e1004e4fa8" providerId="ADAL" clId="{272DBF41-701C-4A52-986C-030F013E7DC1}" dt="2024-02-16T10:55:25.648" v="10" actId="27918"/>
      <pc:docMkLst>
        <pc:docMk/>
      </pc:docMkLst>
      <pc:sldChg chg="modSp mod">
        <pc:chgData name="Weigel Stefan (PAR-EPS)" userId="fd3b2067-2981-4ad8-bf3a-d2e1004e4fa8" providerId="ADAL" clId="{272DBF41-701C-4A52-986C-030F013E7DC1}" dt="2024-02-16T10:55:25.648" v="10" actId="27918"/>
        <pc:sldMkLst>
          <pc:docMk/>
          <pc:sldMk cId="2820921500" sldId="408"/>
        </pc:sldMkLst>
        <pc:spChg chg="mod">
          <ac:chgData name="Weigel Stefan (PAR-EPS)" userId="fd3b2067-2981-4ad8-bf3a-d2e1004e4fa8" providerId="ADAL" clId="{272DBF41-701C-4A52-986C-030F013E7DC1}" dt="2024-02-16T10:55:07.514" v="1" actId="790"/>
          <ac:spMkLst>
            <pc:docMk/>
            <pc:sldMk cId="2820921500" sldId="408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04A004E8-5B39-496D-BE8B-F335A224980F}"/>
    <pc:docChg chg="modSld">
      <pc:chgData name="Weigel Stefan (PAR-EPS)" userId="fd3b2067-2981-4ad8-bf3a-d2e1004e4fa8" providerId="ADAL" clId="{04A004E8-5B39-496D-BE8B-F335A224980F}" dt="2024-04-22T09:20:29.982" v="42" actId="1035"/>
      <pc:docMkLst>
        <pc:docMk/>
      </pc:docMkLst>
      <pc:sldChg chg="modSp mod">
        <pc:chgData name="Weigel Stefan (PAR-EPS)" userId="fd3b2067-2981-4ad8-bf3a-d2e1004e4fa8" providerId="ADAL" clId="{04A004E8-5B39-496D-BE8B-F335A224980F}" dt="2024-04-22T09:20:29.982" v="42" actId="1035"/>
        <pc:sldMkLst>
          <pc:docMk/>
          <pc:sldMk cId="2820921500" sldId="408"/>
        </pc:sldMkLst>
        <pc:spChg chg="mod">
          <ac:chgData name="Weigel Stefan (PAR-EPS)" userId="fd3b2067-2981-4ad8-bf3a-d2e1004e4fa8" providerId="ADAL" clId="{04A004E8-5B39-496D-BE8B-F335A224980F}" dt="2024-04-22T09:20:29.982" v="42" actId="1035"/>
          <ac:spMkLst>
            <pc:docMk/>
            <pc:sldMk cId="2820921500" sldId="408"/>
            <ac:spMk id="7" creationId="{586F29B4-427F-4C02-96A8-38F75F539446}"/>
          </ac:spMkLst>
        </pc:spChg>
        <pc:graphicFrameChg chg="mod">
          <ac:chgData name="Weigel Stefan (PAR-EPS)" userId="fd3b2067-2981-4ad8-bf3a-d2e1004e4fa8" providerId="ADAL" clId="{04A004E8-5B39-496D-BE8B-F335A224980F}" dt="2024-04-22T09:20:14.916" v="14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Weigel Stefan (PAR-EPS)" userId="fd3b2067-2981-4ad8-bf3a-d2e1004e4fa8" providerId="ADAL" clId="{105EEED2-24F3-4DFA-A5EA-B164ABD47F85}"/>
    <pc:docChg chg="modSld">
      <pc:chgData name="Weigel Stefan (PAR-EPS)" userId="fd3b2067-2981-4ad8-bf3a-d2e1004e4fa8" providerId="ADAL" clId="{105EEED2-24F3-4DFA-A5EA-B164ABD47F85}" dt="2025-02-22T13:39:30.737" v="3"/>
      <pc:docMkLst>
        <pc:docMk/>
      </pc:docMkLst>
      <pc:sldChg chg="mod setBg">
        <pc:chgData name="Weigel Stefan (PAR-EPS)" userId="fd3b2067-2981-4ad8-bf3a-d2e1004e4fa8" providerId="ADAL" clId="{105EEED2-24F3-4DFA-A5EA-B164ABD47F85}" dt="2025-02-22T13:39:30.737" v="3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F62F3E69-D638-4F8A-BAB4-2FB5C3CCF3FC}"/>
    <pc:docChg chg="modSld">
      <pc:chgData name="Meyer Raphael (PAR-ES)" userId="79615dfe-ed48-4e74-a40f-4f7b034c1c27" providerId="ADAL" clId="{F62F3E69-D638-4F8A-BAB4-2FB5C3CCF3FC}" dt="2023-03-08T08:22:57.955" v="13" actId="27918"/>
      <pc:docMkLst>
        <pc:docMk/>
      </pc:docMkLst>
      <pc:sldChg chg="mod">
        <pc:chgData name="Meyer Raphael (PAR-ES)" userId="79615dfe-ed48-4e74-a40f-4f7b034c1c27" providerId="ADAL" clId="{F62F3E69-D638-4F8A-BAB4-2FB5C3CCF3FC}" dt="2023-03-08T08:22:57.955" v="13" actId="27918"/>
        <pc:sldMkLst>
          <pc:docMk/>
          <pc:sldMk cId="2820921500" sldId="408"/>
        </pc:sldMkLst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Weigel Stefan (PAR-EPS)" userId="fd3b2067-2981-4ad8-bf3a-d2e1004e4fa8" providerId="ADAL" clId="{C1AF9310-36A8-456C-89D4-051DE09B39F8}"/>
    <pc:docChg chg="modSld">
      <pc:chgData name="Weigel Stefan (PAR-EPS)" userId="fd3b2067-2981-4ad8-bf3a-d2e1004e4fa8" providerId="ADAL" clId="{C1AF9310-36A8-456C-89D4-051DE09B39F8}" dt="2024-02-16T10:50:06.283" v="31" actId="27918"/>
      <pc:docMkLst>
        <pc:docMk/>
      </pc:docMkLst>
      <pc:sldChg chg="mod">
        <pc:chgData name="Weigel Stefan (PAR-EPS)" userId="fd3b2067-2981-4ad8-bf3a-d2e1004e4fa8" providerId="ADAL" clId="{C1AF9310-36A8-456C-89D4-051DE09B39F8}" dt="2024-02-16T10:50:06.283" v="31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65600648848332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reti e barriere antirumore (lunghezza di costruzione i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A20013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45.35845210000002</c:v>
                </c:pt>
                <c:pt idx="1">
                  <c:v>368.13877209999998</c:v>
                </c:pt>
                <c:pt idx="2">
                  <c:v>383.05045860000001</c:v>
                </c:pt>
                <c:pt idx="3">
                  <c:v>390.82165859999998</c:v>
                </c:pt>
                <c:pt idx="4">
                  <c:v>402.5056586</c:v>
                </c:pt>
                <c:pt idx="5">
                  <c:v>403.75584859999998</c:v>
                </c:pt>
                <c:pt idx="6">
                  <c:v>412.27625444639398</c:v>
                </c:pt>
                <c:pt idx="7">
                  <c:v>416.74980696325702</c:v>
                </c:pt>
                <c:pt idx="8">
                  <c:v>421.91321236947499</c:v>
                </c:pt>
                <c:pt idx="9">
                  <c:v>425.01739751144299</c:v>
                </c:pt>
                <c:pt idx="10">
                  <c:v>427.20855083109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Carri merci FFS Cargo SA poco rumorosi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</c:formatCode>
                <c:ptCount val="11"/>
                <c:pt idx="0">
                  <c:v>91.607981220657294</c:v>
                </c:pt>
                <c:pt idx="1">
                  <c:v>92.613812325797497</c:v>
                </c:pt>
                <c:pt idx="2">
                  <c:v>92.908876536971505</c:v>
                </c:pt>
                <c:pt idx="3">
                  <c:v>93.596059113300498</c:v>
                </c:pt>
                <c:pt idx="4">
                  <c:v>93.670172802404196</c:v>
                </c:pt>
                <c:pt idx="5">
                  <c:v>97.340214370782107</c:v>
                </c:pt>
                <c:pt idx="6">
                  <c:v>98.022199798183607</c:v>
                </c:pt>
                <c:pt idx="7">
                  <c:v>98.758295868122502</c:v>
                </c:pt>
                <c:pt idx="8">
                  <c:v>98.784458432819605</c:v>
                </c:pt>
                <c:pt idx="9">
                  <c:v>98.804780876493993</c:v>
                </c:pt>
                <c:pt idx="10">
                  <c:v>99.796747967479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Materiale rotabile FFS Viaggiatori poco rumoroso (%)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.0</c:formatCode>
                <c:ptCount val="11"/>
                <c:pt idx="0">
                  <c:v>96.932377966860699</c:v>
                </c:pt>
                <c:pt idx="1">
                  <c:v>97.156819191470504</c:v>
                </c:pt>
                <c:pt idx="2">
                  <c:v>97.557184099489206</c:v>
                </c:pt>
                <c:pt idx="3">
                  <c:v>97.597204019222403</c:v>
                </c:pt>
                <c:pt idx="4">
                  <c:v>97.674418604651194</c:v>
                </c:pt>
                <c:pt idx="5">
                  <c:v>97.846153846153896</c:v>
                </c:pt>
                <c:pt idx="6">
                  <c:v>97.984344422700602</c:v>
                </c:pt>
                <c:pt idx="7">
                  <c:v>98.285936891312801</c:v>
                </c:pt>
                <c:pt idx="8">
                  <c:v>98.458574181117498</c:v>
                </c:pt>
                <c:pt idx="9">
                  <c:v>98.553758325404402</c:v>
                </c:pt>
                <c:pt idx="10">
                  <c:v>98.5981308411215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"/>
          <c:y val="0.82593188944553131"/>
          <c:w val="0.57028205955826305"/>
          <c:h val="0.17127107012318588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0.99484</cdr:x>
      <cdr:y>0.0605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0"/>
          <a:ext cx="26025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km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Protezione contro i rumori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813699432"/>
              </p:ext>
            </p:extLst>
          </p:nvPr>
        </p:nvGraphicFramePr>
        <p:xfrm>
          <a:off x="1487487" y="1881188"/>
          <a:ext cx="9217025" cy="4427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084295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12B2131-13F0-4FF8-A981-00048FC931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Protezione contro i rumor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ezione contro i rumori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